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sldIdLst>
    <p:sldId id="302" r:id="rId2"/>
    <p:sldId id="507" r:id="rId3"/>
    <p:sldId id="333" r:id="rId4"/>
    <p:sldId id="521" r:id="rId5"/>
    <p:sldId id="505" r:id="rId6"/>
    <p:sldId id="299" r:id="rId7"/>
    <p:sldId id="512" r:id="rId8"/>
    <p:sldId id="511" r:id="rId9"/>
    <p:sldId id="288" r:id="rId10"/>
    <p:sldId id="516" r:id="rId11"/>
    <p:sldId id="520" r:id="rId12"/>
    <p:sldId id="518" r:id="rId13"/>
    <p:sldId id="513" r:id="rId14"/>
    <p:sldId id="276" r:id="rId15"/>
    <p:sldId id="292" r:id="rId16"/>
    <p:sldId id="517" r:id="rId17"/>
    <p:sldId id="322" r:id="rId18"/>
    <p:sldId id="321" r:id="rId19"/>
    <p:sldId id="323" r:id="rId20"/>
    <p:sldId id="522" r:id="rId21"/>
    <p:sldId id="312" r:id="rId22"/>
    <p:sldId id="308" r:id="rId23"/>
    <p:sldId id="275" r:id="rId24"/>
    <p:sldId id="300" r:id="rId25"/>
    <p:sldId id="301" r:id="rId26"/>
  </p:sldIdLst>
  <p:sldSz cx="12192000" cy="6858000"/>
  <p:notesSz cx="7086600" cy="93726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64C8"/>
    <a:srgbClr val="7F9FDF"/>
    <a:srgbClr val="FFFFFF"/>
    <a:srgbClr val="2850A0"/>
    <a:srgbClr val="003399"/>
    <a:srgbClr val="C8D8E6"/>
    <a:srgbClr val="A7BDE9"/>
    <a:srgbClr val="535353"/>
    <a:srgbClr val="A6A6A6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48" autoAdjust="0"/>
    <p:restoredTop sz="93073" autoAdjust="0"/>
  </p:normalViewPr>
  <p:slideViewPr>
    <p:cSldViewPr showGuides="1">
      <p:cViewPr varScale="1">
        <p:scale>
          <a:sx n="128" d="100"/>
          <a:sy n="128" d="100"/>
        </p:scale>
        <p:origin x="752" y="17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6-29</a:t>
            </a:fld>
            <a:endParaRPr lang="en-CA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dirty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004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E64D1-E361-4249-981D-9AF084A9377F}"/>
              </a:ext>
            </a:extLst>
          </p:cNvPr>
          <p:cNvSpPr/>
          <p:nvPr userDrawn="1"/>
        </p:nvSpPr>
        <p:spPr>
          <a:xfrm>
            <a:off x="0" y="0"/>
            <a:ext cx="12192000" cy="837000"/>
          </a:xfrm>
          <a:prstGeom prst="rect">
            <a:avLst/>
          </a:prstGeom>
          <a:solidFill>
            <a:schemeClr val="bg1">
              <a:lumMod val="9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45000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8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unsplash.com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8"/>
            <a:ext cx="10368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</a:t>
            </a:r>
            <a:r>
              <a:rPr lang="en-US" sz="4000" b="1" i="1" dirty="0">
                <a:solidFill>
                  <a:schemeClr val="bg1"/>
                </a:solidFill>
              </a:rPr>
              <a:t>into</a:t>
            </a:r>
            <a:r>
              <a:rPr lang="en-US" sz="3600" b="1" i="1" dirty="0">
                <a:solidFill>
                  <a:schemeClr val="bg1"/>
                </a:solidFill>
              </a:rPr>
              <a:t>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rgbClr val="7F9FDF"/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rgbClr val="7F9FDF"/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682A5A8-CBB8-4C44-AF2F-70C6453AB860}"/>
              </a:ext>
            </a:extLst>
          </p:cNvPr>
          <p:cNvSpPr/>
          <p:nvPr/>
        </p:nvSpPr>
        <p:spPr>
          <a:xfrm>
            <a:off x="7824001" y="1137147"/>
            <a:ext cx="3528000" cy="3963733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829398-B287-A64A-948E-DFA34973317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F3863493-B3F6-A448-BA0C-EE7C96C9CA14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48D6845D-0323-584C-BB5A-4A4B309C2F05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2932498" y="5985707"/>
            <a:ext cx="6275149" cy="7759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tables of the two clubs are arranged differently and use different naming schem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16764" y="3211454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Club Membership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13480D54-DCA5-0941-857E-55180BF5B8E8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FA8DB41A-AF66-D747-B40B-97C3164EE9F6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B4P">
              <a:extLst>
                <a:ext uri="{FF2B5EF4-FFF2-40B4-BE49-F238E27FC236}">
                  <a16:creationId xmlns:a16="http://schemas.microsoft.com/office/drawing/2014/main" id="{190B3AE9-FD2E-834D-9B3F-3753DD2BEDAE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26" name="Triangle">
              <a:extLst>
                <a:ext uri="{FF2B5EF4-FFF2-40B4-BE49-F238E27FC236}">
                  <a16:creationId xmlns:a16="http://schemas.microsoft.com/office/drawing/2014/main" id="{0880BFCD-135D-5B48-A3D0-178B6AE4C60F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27" name="Right Arrow 26">
            <a:extLst>
              <a:ext uri="{FF2B5EF4-FFF2-40B4-BE49-F238E27FC236}">
                <a16:creationId xmlns:a16="http://schemas.microsoft.com/office/drawing/2014/main" id="{F4D82F05-6933-7843-BFE2-77BA393EE9F8}"/>
              </a:ext>
            </a:extLst>
          </p:cNvPr>
          <p:cNvSpPr/>
          <p:nvPr/>
        </p:nvSpPr>
        <p:spPr>
          <a:xfrm>
            <a:off x="4800000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C43AC9FC-7AED-0E4F-A7A1-6ED96D602C13}"/>
              </a:ext>
            </a:extLst>
          </p:cNvPr>
          <p:cNvSpPr/>
          <p:nvPr/>
        </p:nvSpPr>
        <p:spPr>
          <a:xfrm>
            <a:off x="6587974" y="3069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783" y="3553207"/>
            <a:ext cx="2138787" cy="156089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434" y="1606388"/>
            <a:ext cx="3442560" cy="3168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B6A43F58-915F-8A4C-B94A-FB7538C1E6FE}"/>
              </a:ext>
            </a:extLst>
          </p:cNvPr>
          <p:cNvSpPr/>
          <p:nvPr/>
        </p:nvSpPr>
        <p:spPr>
          <a:xfrm>
            <a:off x="5605198" y="5310424"/>
            <a:ext cx="69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675395-E972-1F46-AAA0-630754FB8851}"/>
              </a:ext>
            </a:extLst>
          </p:cNvPr>
          <p:cNvSpPr/>
          <p:nvPr/>
        </p:nvSpPr>
        <p:spPr>
          <a:xfrm>
            <a:off x="2414489" y="5698242"/>
            <a:ext cx="693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>
                    <a:lumMod val="95000"/>
                    <a:lumOff val="5000"/>
                    <a:alpha val="69902"/>
                  </a:schemeClr>
                </a:solidFill>
              </a:rPr>
              <a:t>Create a new merged club based on two existing sports clubs</a:t>
            </a:r>
          </a:p>
        </p:txBody>
      </p:sp>
    </p:spTree>
    <p:extLst>
      <p:ext uri="{BB962C8B-B14F-4D97-AF65-F5344CB8AC3E}">
        <p14:creationId xmlns:p14="http://schemas.microsoft.com/office/powerpoint/2010/main" val="21579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840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488002" y="1701056"/>
            <a:ext cx="7271998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000" b="1" noProof="1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.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</a:p>
          <a:p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  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     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408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408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408000" y="4175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408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408000" y="36710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408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408000" y="5013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408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9450424" y="4581000"/>
            <a:ext cx="271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192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192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192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192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192000" y="367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192000" y="4175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192000" y="50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192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0FE4255A-63AE-1245-8F47-C123B5EFEE8B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Merging Two Soccer Clubs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32C5C7-A37C-7E48-88F8-E483FF4DDCA7}"/>
              </a:ext>
            </a:extLst>
          </p:cNvPr>
          <p:cNvSpPr/>
          <p:nvPr/>
        </p:nvSpPr>
        <p:spPr>
          <a:xfrm>
            <a:off x="1462167" y="1135404"/>
            <a:ext cx="72978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8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5 Statements)</a:t>
            </a:r>
          </a:p>
        </p:txBody>
      </p:sp>
      <p:sp>
        <p:nvSpPr>
          <p:cNvPr id="30" name="Rechteck 17">
            <a:extLst>
              <a:ext uri="{FF2B5EF4-FFF2-40B4-BE49-F238E27FC236}">
                <a16:creationId xmlns:a16="http://schemas.microsoft.com/office/drawing/2014/main" id="{B9627141-9C51-654B-B75A-693A85EF1FEB}"/>
              </a:ext>
            </a:extLst>
          </p:cNvPr>
          <p:cNvSpPr/>
          <p:nvPr/>
        </p:nvSpPr>
        <p:spPr>
          <a:xfrm>
            <a:off x="9408000" y="1700353"/>
            <a:ext cx="2592000" cy="4840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lain English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36" name="Rechteck 19">
            <a:extLst>
              <a:ext uri="{FF2B5EF4-FFF2-40B4-BE49-F238E27FC236}">
                <a16:creationId xmlns:a16="http://schemas.microsoft.com/office/drawing/2014/main" id="{D4963825-3E3C-714F-A9D5-2049DB7CF13B}"/>
              </a:ext>
            </a:extLst>
          </p:cNvPr>
          <p:cNvSpPr/>
          <p:nvPr/>
        </p:nvSpPr>
        <p:spPr>
          <a:xfrm>
            <a:off x="9499578" y="2360635"/>
            <a:ext cx="248505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business logic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minimal loops or variables needed for coding</a:t>
            </a:r>
          </a:p>
        </p:txBody>
      </p:sp>
      <p:sp>
        <p:nvSpPr>
          <p:cNvPr id="38" name="Rechteck 20">
            <a:extLst>
              <a:ext uri="{FF2B5EF4-FFF2-40B4-BE49-F238E27FC236}">
                <a16:creationId xmlns:a16="http://schemas.microsoft.com/office/drawing/2014/main" id="{A354CB80-9004-794F-BA2A-8C426A9AC9A1}"/>
              </a:ext>
            </a:extLst>
          </p:cNvPr>
          <p:cNvSpPr/>
          <p:nvPr/>
        </p:nvSpPr>
        <p:spPr>
          <a:xfrm>
            <a:off x="9548991" y="5778941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39" name="Rechteck 29">
            <a:extLst>
              <a:ext uri="{FF2B5EF4-FFF2-40B4-BE49-F238E27FC236}">
                <a16:creationId xmlns:a16="http://schemas.microsoft.com/office/drawing/2014/main" id="{5366C8EF-5BB8-4D42-B076-30E4DFD68E9A}"/>
              </a:ext>
            </a:extLst>
          </p:cNvPr>
          <p:cNvSpPr/>
          <p:nvPr/>
        </p:nvSpPr>
        <p:spPr>
          <a:xfrm>
            <a:off x="9443998" y="3157972"/>
            <a:ext cx="252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37B64E80-9A40-A749-9822-6D5EBEAA08B4}"/>
              </a:ext>
            </a:extLst>
          </p:cNvPr>
          <p:cNvSpPr/>
          <p:nvPr/>
        </p:nvSpPr>
        <p:spPr>
          <a:xfrm rot="10800000">
            <a:off x="8794495" y="2440905"/>
            <a:ext cx="360000" cy="2973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6E79B4BF-FCF9-B644-AD0C-7BBE765D0E01}"/>
              </a:ext>
            </a:extLst>
          </p:cNvPr>
          <p:cNvSpPr/>
          <p:nvPr/>
        </p:nvSpPr>
        <p:spPr>
          <a:xfrm rot="10800000">
            <a:off x="8794495" y="1773000"/>
            <a:ext cx="360000" cy="2973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ight Arrow 39">
            <a:extLst>
              <a:ext uri="{FF2B5EF4-FFF2-40B4-BE49-F238E27FC236}">
                <a16:creationId xmlns:a16="http://schemas.microsoft.com/office/drawing/2014/main" id="{40EAE291-5C82-0F4A-934A-7725CE900406}"/>
              </a:ext>
            </a:extLst>
          </p:cNvPr>
          <p:cNvSpPr/>
          <p:nvPr/>
        </p:nvSpPr>
        <p:spPr>
          <a:xfrm rot="10800000">
            <a:off x="8769789" y="3328368"/>
            <a:ext cx="360000" cy="2973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Right Arrow 40">
            <a:extLst>
              <a:ext uri="{FF2B5EF4-FFF2-40B4-BE49-F238E27FC236}">
                <a16:creationId xmlns:a16="http://schemas.microsoft.com/office/drawing/2014/main" id="{CFA77F18-4FB6-D040-A53D-96BB2003B3EE}"/>
              </a:ext>
            </a:extLst>
          </p:cNvPr>
          <p:cNvSpPr/>
          <p:nvPr/>
        </p:nvSpPr>
        <p:spPr>
          <a:xfrm rot="10800000">
            <a:off x="8794495" y="4706638"/>
            <a:ext cx="360000" cy="2973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A52C32A6-FDF3-364E-A6CC-6A991AAD1508}"/>
              </a:ext>
            </a:extLst>
          </p:cNvPr>
          <p:cNvSpPr/>
          <p:nvPr/>
        </p:nvSpPr>
        <p:spPr>
          <a:xfrm rot="10800000">
            <a:off x="8794495" y="6129000"/>
            <a:ext cx="360000" cy="2973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53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361667" y="5933306"/>
            <a:ext cx="7416812" cy="986833"/>
          </a:xfrm>
          <a:prstGeom prst="rect">
            <a:avLst/>
          </a:prstGeom>
          <a:solidFill>
            <a:schemeClr val="bg1">
              <a:lumMod val="95000"/>
              <a:alpha val="55198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Data source1: 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ckcharts.com/nasdaq100</a:t>
            </a:r>
            <a:endParaRPr lang="en-US" sz="1200" dirty="0">
              <a:solidFill>
                <a:schemeClr val="tx1">
                  <a:alpha val="69902"/>
                </a:schemeClr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Data source2: 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ckcharts.com/sp500</a:t>
            </a:r>
            <a:r>
              <a:rPr lang="de-CH" sz="1200" dirty="0">
                <a:solidFill>
                  <a:schemeClr val="tx1">
                    <a:alpha val="69902"/>
                  </a:schemeClr>
                </a:solidFill>
              </a:rPr>
              <a:t> </a:t>
            </a:r>
            <a:endParaRPr lang="en-US" sz="1200" dirty="0">
              <a:solidFill>
                <a:schemeClr val="tx1">
                  <a:alpha val="69902"/>
                </a:schemeClr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Some companies are listed in only one of them, others are listed in both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alpha val="69902"/>
                  </a:schemeClr>
                </a:solidFill>
              </a:rPr>
              <a:t>Combine the information, show weighting in the two listings and color code trends (positive/negative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CB45BB-5949-104E-A0C0-6D4C33ECC84C}"/>
              </a:ext>
            </a:extLst>
          </p:cNvPr>
          <p:cNvSpPr/>
          <p:nvPr/>
        </p:nvSpPr>
        <p:spPr>
          <a:xfrm>
            <a:off x="7819362" y="124697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A9F7DA-C2D9-764D-86E6-A3D61619527C}"/>
              </a:ext>
            </a:extLst>
          </p:cNvPr>
          <p:cNvSpPr/>
          <p:nvPr/>
        </p:nvSpPr>
        <p:spPr>
          <a:xfrm>
            <a:off x="467637" y="1290730"/>
            <a:ext cx="3402375" cy="4030778"/>
          </a:xfrm>
          <a:prstGeom prst="rect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D09CE7B2-DA47-2E4F-AD87-46B589C2F56E}"/>
              </a:ext>
            </a:extLst>
          </p:cNvPr>
          <p:cNvSpPr/>
          <p:nvPr/>
        </p:nvSpPr>
        <p:spPr>
          <a:xfrm rot="16200000">
            <a:off x="4690133" y="2059520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riangle 18">
            <a:extLst>
              <a:ext uri="{FF2B5EF4-FFF2-40B4-BE49-F238E27FC236}">
                <a16:creationId xmlns:a16="http://schemas.microsoft.com/office/drawing/2014/main" id="{D1A6B0E9-FAED-C049-952F-CAB3C4C7039F}"/>
              </a:ext>
            </a:extLst>
          </p:cNvPr>
          <p:cNvSpPr/>
          <p:nvPr/>
        </p:nvSpPr>
        <p:spPr>
          <a:xfrm rot="5400000">
            <a:off x="3006624" y="2154121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4465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7" name="Grafik 5">
            <a:extLst>
              <a:ext uri="{FF2B5EF4-FFF2-40B4-BE49-F238E27FC236}">
                <a16:creationId xmlns:a16="http://schemas.microsoft.com/office/drawing/2014/main" id="{0E8168F4-97E7-0343-9AF7-D523EE65A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209" y="2188305"/>
            <a:ext cx="4328573" cy="223949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126789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E20C7C10-E57A-9148-8EA4-A043D0D7DC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79" y="1421011"/>
            <a:ext cx="2550621" cy="224467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02948E6F-A4FD-5640-ABD2-BA6FE5C82E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91" y="2926519"/>
            <a:ext cx="2611412" cy="22841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144507" dir="8100000" algn="tr" rotWithShape="0">
              <a:prstClr val="black">
                <a:alpha val="40000"/>
              </a:prstClr>
            </a:outerShdw>
          </a:effectLst>
        </p:spPr>
      </p:pic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69F72D45-0468-424F-A43E-1375439EC878}"/>
              </a:ext>
            </a:extLst>
          </p:cNvPr>
          <p:cNvGrpSpPr/>
          <p:nvPr/>
        </p:nvGrpSpPr>
        <p:grpSpPr>
          <a:xfrm>
            <a:off x="5277616" y="2828284"/>
            <a:ext cx="1134143" cy="909223"/>
            <a:chOff x="4944000" y="2349000"/>
            <a:chExt cx="1440000" cy="1152000"/>
          </a:xfrm>
        </p:grpSpPr>
        <p:sp>
          <p:nvSpPr>
            <p:cNvPr id="30" name="Rechteck: abgerundete Ecken 14">
              <a:extLst>
                <a:ext uri="{FF2B5EF4-FFF2-40B4-BE49-F238E27FC236}">
                  <a16:creationId xmlns:a16="http://schemas.microsoft.com/office/drawing/2014/main" id="{CF20F827-09AD-F94E-92F1-3B3776BC994B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B4P">
              <a:extLst>
                <a:ext uri="{FF2B5EF4-FFF2-40B4-BE49-F238E27FC236}">
                  <a16:creationId xmlns:a16="http://schemas.microsoft.com/office/drawing/2014/main" id="{00AC4607-B39C-1441-8A1B-F5DBC4CDE9AA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2" name="Triangle">
              <a:extLst>
                <a:ext uri="{FF2B5EF4-FFF2-40B4-BE49-F238E27FC236}">
                  <a16:creationId xmlns:a16="http://schemas.microsoft.com/office/drawing/2014/main" id="{68BE7B62-E641-ED4B-BA24-4D5C783AA73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3" name="Right Arrow 26">
            <a:extLst>
              <a:ext uri="{FF2B5EF4-FFF2-40B4-BE49-F238E27FC236}">
                <a16:creationId xmlns:a16="http://schemas.microsoft.com/office/drawing/2014/main" id="{26EE6159-A4E8-0D40-B715-0DD11B77DDBA}"/>
              </a:ext>
            </a:extLst>
          </p:cNvPr>
          <p:cNvSpPr/>
          <p:nvPr/>
        </p:nvSpPr>
        <p:spPr>
          <a:xfrm>
            <a:off x="4800000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ight Arrow 27">
            <a:extLst>
              <a:ext uri="{FF2B5EF4-FFF2-40B4-BE49-F238E27FC236}">
                <a16:creationId xmlns:a16="http://schemas.microsoft.com/office/drawing/2014/main" id="{735164F0-F498-2F4F-8CCE-FA25D9D0C1AA}"/>
              </a:ext>
            </a:extLst>
          </p:cNvPr>
          <p:cNvSpPr/>
          <p:nvPr/>
        </p:nvSpPr>
        <p:spPr>
          <a:xfrm>
            <a:off x="6587974" y="316150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3568B6B1-AA3B-A345-97CC-01AA8FA0E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EBCB43-F86B-C44E-90E2-CDAA06CD85EE}"/>
              </a:ext>
            </a:extLst>
          </p:cNvPr>
          <p:cNvSpPr/>
          <p:nvPr/>
        </p:nvSpPr>
        <p:spPr>
          <a:xfrm>
            <a:off x="5365844" y="5298875"/>
            <a:ext cx="69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90E2CD-7428-A942-A69D-CA96D78E9C1A}"/>
              </a:ext>
            </a:extLst>
          </p:cNvPr>
          <p:cNvSpPr/>
          <p:nvPr/>
        </p:nvSpPr>
        <p:spPr>
          <a:xfrm>
            <a:off x="2175135" y="5686693"/>
            <a:ext cx="6936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  <a:alpha val="69902"/>
                  </a:schemeClr>
                </a:solidFill>
              </a:rPr>
              <a:t>Import the real-time online  S&amp;P 500 and NASDAQ 100 stock  information merge them</a:t>
            </a:r>
          </a:p>
        </p:txBody>
      </p:sp>
    </p:spTree>
    <p:extLst>
      <p:ext uri="{BB962C8B-B14F-4D97-AF65-F5344CB8AC3E}">
        <p14:creationId xmlns:p14="http://schemas.microsoft.com/office/powerpoint/2010/main" val="2473366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nasdaq100, sp500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www.slickcharts.com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Chg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Chg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Chg, '% Chg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Chg', '% Chg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Chg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Chg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autofilter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SP500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56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815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325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679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28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78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65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2B6DF0-4111-D640-966F-CBE854CB829F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12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6 Statements)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76B24BC0-0A60-CB4F-8FE0-5B7296FC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45000"/>
            <a:ext cx="11232000" cy="107916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ombining Stock Data:  S&amp;P 500 and NASDAQ 100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912E6F3-2C84-9541-AA7A-D16356F83044}"/>
              </a:ext>
            </a:extLst>
          </p:cNvPr>
          <p:cNvSpPr/>
          <p:nvPr/>
        </p:nvSpPr>
        <p:spPr>
          <a:xfrm>
            <a:off x="7824001" y="1137147"/>
            <a:ext cx="4034408" cy="396373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47A161-0A91-4341-81F6-626BA65A9855}"/>
              </a:ext>
            </a:extLst>
          </p:cNvPr>
          <p:cNvSpPr/>
          <p:nvPr/>
        </p:nvSpPr>
        <p:spPr>
          <a:xfrm>
            <a:off x="768000" y="1198223"/>
            <a:ext cx="3102012" cy="403077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1F84A62F-8A96-8547-9879-A1FE4B6F7796}"/>
              </a:ext>
            </a:extLst>
          </p:cNvPr>
          <p:cNvSpPr/>
          <p:nvPr/>
        </p:nvSpPr>
        <p:spPr>
          <a:xfrm rot="16200000">
            <a:off x="4690133" y="1967013"/>
            <a:ext cx="3963733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6388E003-D684-9143-AB42-531DDA2D8D1C}"/>
              </a:ext>
            </a:extLst>
          </p:cNvPr>
          <p:cNvSpPr/>
          <p:nvPr/>
        </p:nvSpPr>
        <p:spPr>
          <a:xfrm rot="5400000">
            <a:off x="3006624" y="2061614"/>
            <a:ext cx="4030778" cy="2304000"/>
          </a:xfrm>
          <a:prstGeom prst="triangle">
            <a:avLst/>
          </a:prstGeom>
          <a:solidFill>
            <a:schemeClr val="bg1">
              <a:lumMod val="95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3" name="Gruppieren 20">
            <a:extLst>
              <a:ext uri="{FF2B5EF4-FFF2-40B4-BE49-F238E27FC236}">
                <a16:creationId xmlns:a16="http://schemas.microsoft.com/office/drawing/2014/main" id="{D0EC3AE8-239B-1442-85F2-8EC0C9651BD3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24" name="Rechteck: abgerundete Ecken 14">
              <a:extLst>
                <a:ext uri="{FF2B5EF4-FFF2-40B4-BE49-F238E27FC236}">
                  <a16:creationId xmlns:a16="http://schemas.microsoft.com/office/drawing/2014/main" id="{EB746A52-3127-C14D-A079-4827711C2BDC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B4P">
              <a:extLst>
                <a:ext uri="{FF2B5EF4-FFF2-40B4-BE49-F238E27FC236}">
                  <a16:creationId xmlns:a16="http://schemas.microsoft.com/office/drawing/2014/main" id="{0D042601-788B-8B49-A0C3-412FEF1B89DF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8" name="Triangle">
              <a:extLst>
                <a:ext uri="{FF2B5EF4-FFF2-40B4-BE49-F238E27FC236}">
                  <a16:creationId xmlns:a16="http://schemas.microsoft.com/office/drawing/2014/main" id="{9CE508DE-C6BA-DC43-AE5E-DDE6AFCDD81D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9" name="Right Arrow 26">
            <a:extLst>
              <a:ext uri="{FF2B5EF4-FFF2-40B4-BE49-F238E27FC236}">
                <a16:creationId xmlns:a16="http://schemas.microsoft.com/office/drawing/2014/main" id="{4F6D1C26-C4AB-4E4F-ABF8-FC68C901B247}"/>
              </a:ext>
            </a:extLst>
          </p:cNvPr>
          <p:cNvSpPr/>
          <p:nvPr/>
        </p:nvSpPr>
        <p:spPr>
          <a:xfrm>
            <a:off x="4711892" y="3109001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ight Arrow 27">
            <a:extLst>
              <a:ext uri="{FF2B5EF4-FFF2-40B4-BE49-F238E27FC236}">
                <a16:creationId xmlns:a16="http://schemas.microsoft.com/office/drawing/2014/main" id="{58C59F10-A84E-0F4C-A6B0-D03591E56608}"/>
              </a:ext>
            </a:extLst>
          </p:cNvPr>
          <p:cNvSpPr/>
          <p:nvPr/>
        </p:nvSpPr>
        <p:spPr>
          <a:xfrm>
            <a:off x="6595250" y="3043647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232904"/>
            <a:ext cx="4739637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758073" y="5161959"/>
            <a:ext cx="6624000" cy="16960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sk: 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 Download the list of Presidents and generate Excel table with one president per row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won multiple election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509DD55-F89D-8245-95D2-E98A8A003A6A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141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421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494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4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1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9647999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en.wikipedia.org/wiki/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-1 = Last Row (negative indexing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[.]), { '[?]', new line, '- '}, {'','','-' }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{ Party Name, 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Colors }, { Democratic,   azur    }, { Republican, imperial red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coral  }, { Whig,         yellow  }, { "Democratic-Republican", 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ocre   }, { Unaffiliated, gray 15 } 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autofilter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1ECED126-0CB4-9143-B5A3-B024619D4638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kern="1200" cap="none" baseline="0" noProof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Analyzing all Presidents in Wikipedia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CBAC324-D9D9-7D4C-8FA5-2E2922652BD5}"/>
              </a:ext>
            </a:extLst>
          </p:cNvPr>
          <p:cNvSpPr/>
          <p:nvPr/>
        </p:nvSpPr>
        <p:spPr>
          <a:xfrm>
            <a:off x="1606167" y="1135404"/>
            <a:ext cx="9457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:  9 Statements         </a:t>
            </a:r>
            <a:r>
              <a:rPr lang="en-US" b="1" i="1" dirty="0">
                <a:solidFill>
                  <a:schemeClr val="bg1">
                    <a:lumMod val="75000"/>
                  </a:schemeClr>
                </a:solidFill>
              </a:rPr>
              <a:t>(Optional formatting: 7 Statements)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845000"/>
            <a:ext cx="11232000" cy="2664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Real-World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>
                <a:solidFill>
                  <a:srgbClr val="3264C8"/>
                </a:solidFill>
              </a:rPr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1365743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048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tegrate corporate data from 20 branch offices worldwide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2061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99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966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550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87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206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78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858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97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87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5013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84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110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73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845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565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77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9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21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50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35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21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85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845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565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21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71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93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221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7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93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4005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932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65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725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725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869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43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612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7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15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72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51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7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93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77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237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93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602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357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77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445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201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165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125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664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44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400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8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165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565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B4P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93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206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355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437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620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914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731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609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81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18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RP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Xchg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63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916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916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2060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806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268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2096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988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564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589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268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996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3068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953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924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500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932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4004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4004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4148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788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508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436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5012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5156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5156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372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996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788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Xchg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4076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4180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4110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3145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356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4004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356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4209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5084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233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988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772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2060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2132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2132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276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564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852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708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924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356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644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716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708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572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940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4148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5012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6165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772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772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3068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860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5156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31699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Overview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High-Performance Big Data Integration and Analytics Solution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300647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379978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288640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2057627" y="1631865"/>
            <a:ext cx="159037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big 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496757" y="1620225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284860" y="5960558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292860" y="6134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292860" y="632055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292860" y="649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52685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570830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303703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280397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288640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638603"/>
            <a:ext cx="208750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 dirty="0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462477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479516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968171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994490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>
                <a:solidFill>
                  <a:srgbClr val="3264C8"/>
                </a:solidFill>
              </a:rPr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>
                <a:solidFill>
                  <a:srgbClr val="3264C8"/>
                </a:solidFill>
              </a:rPr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5005376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>
                <a:solidFill>
                  <a:srgbClr val="3264C8"/>
                </a:solidFill>
              </a:rPr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 dirty="0">
                <a:solidFill>
                  <a:srgbClr val="3264C8"/>
                </a:solidFill>
              </a:rPr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439360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536487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4020451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4022351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609649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788929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424008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647475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573200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596848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581357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292860" y="5960558"/>
            <a:ext cx="326467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 dirty="0"/>
              <a:t>Excel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48113" y="6134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25058" y="6320558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52922" y="649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992000" y="5877000"/>
            <a:ext cx="7516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424000" y="6021000"/>
            <a:ext cx="164034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  <a:p>
            <a:r>
              <a:rPr lang="en-US" dirty="0"/>
              <a:t>and Format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3054383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928324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960132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960939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rgbClr val="A6A6A6"/>
                  </a:solidFill>
                </a:rPr>
                <a:t>X</a:t>
              </a:r>
              <a:endParaRPr lang="en-US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3104923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933047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145" name="TextBox 36">
            <a:extLst>
              <a:ext uri="{FF2B5EF4-FFF2-40B4-BE49-F238E27FC236}">
                <a16:creationId xmlns:a16="http://schemas.microsoft.com/office/drawing/2014/main" id="{7985569B-7F98-314F-9756-A97F722951C7}"/>
              </a:ext>
            </a:extLst>
          </p:cNvPr>
          <p:cNvSpPr txBox="1"/>
          <p:nvPr/>
        </p:nvSpPr>
        <p:spPr>
          <a:xfrm>
            <a:off x="4869302" y="1599217"/>
            <a:ext cx="2162698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rgbClr val="3264C8"/>
                </a:solidFill>
              </a:rPr>
              <a:t>Integration and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 dirty="0">
                <a:solidFill>
                  <a:srgbClr val="3264C8"/>
                </a:solidFill>
              </a:rPr>
              <a:t>Analytics Engine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E770696-407E-3145-A75A-35524E57B2D0}"/>
              </a:ext>
            </a:extLst>
          </p:cNvPr>
          <p:cNvSpPr/>
          <p:nvPr/>
        </p:nvSpPr>
        <p:spPr>
          <a:xfrm>
            <a:off x="4824009" y="2613560"/>
            <a:ext cx="2207991" cy="2975440"/>
          </a:xfrm>
          <a:prstGeom prst="roundRect">
            <a:avLst/>
          </a:prstGeom>
          <a:solidFill>
            <a:srgbClr val="3264C8">
              <a:alpha val="7063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: abgerundete Ecken 14">
            <a:extLst>
              <a:ext uri="{FF2B5EF4-FFF2-40B4-BE49-F238E27FC236}">
                <a16:creationId xmlns:a16="http://schemas.microsoft.com/office/drawing/2014/main" id="{7ECECA5C-2E2C-0F4D-8CD3-3000FA991110}"/>
              </a:ext>
            </a:extLst>
          </p:cNvPr>
          <p:cNvSpPr/>
          <p:nvPr/>
        </p:nvSpPr>
        <p:spPr>
          <a:xfrm>
            <a:off x="690039" y="4363879"/>
            <a:ext cx="10656000" cy="717944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3" name="Flussdiagramm: Dokument 102">
            <a:extLst>
              <a:ext uri="{FF2B5EF4-FFF2-40B4-BE49-F238E27FC236}">
                <a16:creationId xmlns:a16="http://schemas.microsoft.com/office/drawing/2014/main" id="{CA034B1A-61A6-40A2-A13A-F784947822AE}"/>
              </a:ext>
            </a:extLst>
          </p:cNvPr>
          <p:cNvSpPr/>
          <p:nvPr/>
        </p:nvSpPr>
        <p:spPr>
          <a:xfrm>
            <a:off x="4440000" y="3212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Real-world Use Case #4</a:t>
            </a:r>
            <a:br>
              <a:rPr lang="en-US" dirty="0"/>
            </a:br>
            <a:r>
              <a:rPr lang="en-US" dirty="0">
                <a:solidFill>
                  <a:srgbClr val="3264C8"/>
                </a:solidFill>
              </a:rPr>
              <a:t>Merger and Acquisition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696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Flussdiagramm: Dokument 94">
            <a:extLst>
              <a:ext uri="{FF2B5EF4-FFF2-40B4-BE49-F238E27FC236}">
                <a16:creationId xmlns:a16="http://schemas.microsoft.com/office/drawing/2014/main" id="{13A58FF8-E809-49A3-8399-E06B75341DED}"/>
              </a:ext>
            </a:extLst>
          </p:cNvPr>
          <p:cNvSpPr/>
          <p:nvPr/>
        </p:nvSpPr>
        <p:spPr>
          <a:xfrm>
            <a:off x="2424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98" name="Flussdiagramm: Dokument 97">
            <a:extLst>
              <a:ext uri="{FF2B5EF4-FFF2-40B4-BE49-F238E27FC236}">
                <a16:creationId xmlns:a16="http://schemas.microsoft.com/office/drawing/2014/main" id="{9C9E274D-FE9A-43C3-95FE-D2B5975ECDEB}"/>
              </a:ext>
            </a:extLst>
          </p:cNvPr>
          <p:cNvSpPr/>
          <p:nvPr/>
        </p:nvSpPr>
        <p:spPr>
          <a:xfrm>
            <a:off x="9767824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duct Portfolio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od Mgt Database</a:t>
            </a:r>
          </a:p>
        </p:txBody>
      </p:sp>
      <p:sp>
        <p:nvSpPr>
          <p:cNvPr id="100" name="Flussdiagramm: Dokument 99">
            <a:extLst>
              <a:ext uri="{FF2B5EF4-FFF2-40B4-BE49-F238E27FC236}">
                <a16:creationId xmlns:a16="http://schemas.microsoft.com/office/drawing/2014/main" id="{E440C831-87EC-4F50-A50C-2D09AEB1668A}"/>
              </a:ext>
            </a:extLst>
          </p:cNvPr>
          <p:cNvSpPr/>
          <p:nvPr/>
        </p:nvSpPr>
        <p:spPr>
          <a:xfrm>
            <a:off x="8040000" y="2420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ustomer Relation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gt Datab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1" name="Flussdiagramm: Dokument 100">
            <a:extLst>
              <a:ext uri="{FF2B5EF4-FFF2-40B4-BE49-F238E27FC236}">
                <a16:creationId xmlns:a16="http://schemas.microsoft.com/office/drawing/2014/main" id="{F1B6B876-671A-4DD4-9AC9-4316845833A0}"/>
              </a:ext>
            </a:extLst>
          </p:cNvPr>
          <p:cNvSpPr/>
          <p:nvPr/>
        </p:nvSpPr>
        <p:spPr>
          <a:xfrm>
            <a:off x="4296000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Shee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2" name="Flussdiagramm: Zentralspeicher 101">
            <a:extLst>
              <a:ext uri="{FF2B5EF4-FFF2-40B4-BE49-F238E27FC236}">
                <a16:creationId xmlns:a16="http://schemas.microsoft.com/office/drawing/2014/main" id="{8EEDDA7A-3C23-40C0-BE90-ABA55EB7BCF0}"/>
              </a:ext>
            </a:extLst>
          </p:cNvPr>
          <p:cNvSpPr/>
          <p:nvPr/>
        </p:nvSpPr>
        <p:spPr>
          <a:xfrm>
            <a:off x="5376664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5" name="Flussdiagramm: Dokument 104">
            <a:extLst>
              <a:ext uri="{FF2B5EF4-FFF2-40B4-BE49-F238E27FC236}">
                <a16:creationId xmlns:a16="http://schemas.microsoft.com/office/drawing/2014/main" id="{4F940C67-0C29-4F41-8CC9-3981C1BB371F}"/>
              </a:ext>
            </a:extLst>
          </p:cNvPr>
          <p:cNvSpPr/>
          <p:nvPr/>
        </p:nvSpPr>
        <p:spPr>
          <a:xfrm>
            <a:off x="6239824" y="33566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iag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ul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6" name="Flussdiagramm: Zentralspeicher 105">
            <a:extLst>
              <a:ext uri="{FF2B5EF4-FFF2-40B4-BE49-F238E27FC236}">
                <a16:creationId xmlns:a16="http://schemas.microsoft.com/office/drawing/2014/main" id="{F4D9FBC0-AA1B-4FA1-8BF2-EF237CBF468C}"/>
              </a:ext>
            </a:extLst>
          </p:cNvPr>
          <p:cNvSpPr/>
          <p:nvPr/>
        </p:nvSpPr>
        <p:spPr>
          <a:xfrm>
            <a:off x="7320488" y="342874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8" name="B4P">
            <a:extLst>
              <a:ext uri="{FF2B5EF4-FFF2-40B4-BE49-F238E27FC236}">
                <a16:creationId xmlns:a16="http://schemas.microsoft.com/office/drawing/2014/main" id="{0C909434-86DA-4E59-9466-23F864867562}"/>
              </a:ext>
            </a:extLst>
          </p:cNvPr>
          <p:cNvSpPr txBox="1"/>
          <p:nvPr/>
        </p:nvSpPr>
        <p:spPr>
          <a:xfrm>
            <a:off x="5573757" y="4509000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D4BB2405-6CFB-4039-9FB2-D720D21BA11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5088088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17FBB31-B75B-4B91-8C6F-1FA5256C8DB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7031912" y="3894427"/>
            <a:ext cx="0" cy="470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380BD29-9A04-4CC4-9741-BA9D12E62682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488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15FE5FA-7659-4828-9BA2-AA85BD51095B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3216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B33344A8-A68B-416E-B257-20B12514D838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8832088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BF1DB8B-618A-4B5A-A23E-E8D099A8F51D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10559912" y="2958427"/>
            <a:ext cx="0" cy="14064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ussdiagramm: Dokument 119">
            <a:extLst>
              <a:ext uri="{FF2B5EF4-FFF2-40B4-BE49-F238E27FC236}">
                <a16:creationId xmlns:a16="http://schemas.microsoft.com/office/drawing/2014/main" id="{2909C537-0592-43B4-8E2E-8DA389143755}"/>
              </a:ext>
            </a:extLst>
          </p:cNvPr>
          <p:cNvSpPr/>
          <p:nvPr/>
        </p:nvSpPr>
        <p:spPr>
          <a:xfrm>
            <a:off x="3359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CRM Reports</a:t>
            </a:r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4E1A9DD5-A269-4AF5-BCAC-46705DB9C568}"/>
              </a:ext>
            </a:extLst>
          </p:cNvPr>
          <p:cNvSpPr/>
          <p:nvPr/>
        </p:nvSpPr>
        <p:spPr>
          <a:xfrm>
            <a:off x="5231824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jects</a:t>
            </a:r>
          </a:p>
        </p:txBody>
      </p: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F9D302ED-460E-4939-A43F-57BC52502EF5}"/>
              </a:ext>
            </a:extLst>
          </p:cNvPr>
          <p:cNvSpPr/>
          <p:nvPr/>
        </p:nvSpPr>
        <p:spPr>
          <a:xfrm>
            <a:off x="7103648" y="5661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ortfolio</a:t>
            </a:r>
          </a:p>
        </p:txBody>
      </p:sp>
      <p:sp>
        <p:nvSpPr>
          <p:cNvPr id="123" name="Flussdiagramm: Dokument 122">
            <a:extLst>
              <a:ext uri="{FF2B5EF4-FFF2-40B4-BE49-F238E27FC236}">
                <a16:creationId xmlns:a16="http://schemas.microsoft.com/office/drawing/2014/main" id="{4123D8A9-6358-41CF-9D00-81881D2A6F6F}"/>
              </a:ext>
            </a:extLst>
          </p:cNvPr>
          <p:cNvSpPr/>
          <p:nvPr/>
        </p:nvSpPr>
        <p:spPr>
          <a:xfrm>
            <a:off x="8976000" y="5661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verlaps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uplication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D9B6E76C-2356-4FC2-9469-534864F83BDA}"/>
              </a:ext>
            </a:extLst>
          </p:cNvPr>
          <p:cNvCxnSpPr>
            <a:cxnSpLocks/>
            <a:endCxn id="120" idx="0"/>
          </p:cNvCxnSpPr>
          <p:nvPr/>
        </p:nvCxnSpPr>
        <p:spPr>
          <a:xfrm>
            <a:off x="4151912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0ED3B875-B882-413A-AB1C-48B859EFF913}"/>
              </a:ext>
            </a:extLst>
          </p:cNvPr>
          <p:cNvCxnSpPr>
            <a:cxnSpLocks/>
          </p:cNvCxnSpPr>
          <p:nvPr/>
        </p:nvCxnSpPr>
        <p:spPr>
          <a:xfrm>
            <a:off x="6024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F66C799D-175F-4B2B-A060-990334084885}"/>
              </a:ext>
            </a:extLst>
          </p:cNvPr>
          <p:cNvCxnSpPr>
            <a:cxnSpLocks/>
          </p:cNvCxnSpPr>
          <p:nvPr/>
        </p:nvCxnSpPr>
        <p:spPr>
          <a:xfrm>
            <a:off x="7896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E2F55B90-7F68-4DEC-AB80-68364415FB14}"/>
              </a:ext>
            </a:extLst>
          </p:cNvPr>
          <p:cNvCxnSpPr>
            <a:cxnSpLocks/>
          </p:cNvCxnSpPr>
          <p:nvPr/>
        </p:nvCxnSpPr>
        <p:spPr>
          <a:xfrm>
            <a:off x="9768000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EB9701-124F-4C9B-A0CC-836507F07C19}"/>
              </a:ext>
            </a:extLst>
          </p:cNvPr>
          <p:cNvSpPr/>
          <p:nvPr/>
        </p:nvSpPr>
        <p:spPr>
          <a:xfrm>
            <a:off x="696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1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622DEBD-00A2-45E7-AA02-0E104CAAE990}"/>
              </a:ext>
            </a:extLst>
          </p:cNvPr>
          <p:cNvSpPr/>
          <p:nvPr/>
        </p:nvSpPr>
        <p:spPr>
          <a:xfrm>
            <a:off x="8040000" y="1988832"/>
            <a:ext cx="331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Entity 2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F04830D-CCCE-4FE5-B673-4CCDDBCF07EF}"/>
              </a:ext>
            </a:extLst>
          </p:cNvPr>
          <p:cNvSpPr/>
          <p:nvPr/>
        </p:nvSpPr>
        <p:spPr>
          <a:xfrm>
            <a:off x="4224000" y="1988832"/>
            <a:ext cx="36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erging + Alignment Guidelines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B394779-3D84-4163-AF58-0E05ACFC0DCA}"/>
              </a:ext>
            </a:extLst>
          </p:cNvPr>
          <p:cNvSpPr/>
          <p:nvPr/>
        </p:nvSpPr>
        <p:spPr>
          <a:xfrm>
            <a:off x="62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ies and resolve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uplic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041FC569-E73B-4965-91B1-8D6CB70EB520}"/>
              </a:ext>
            </a:extLst>
          </p:cNvPr>
          <p:cNvSpPr/>
          <p:nvPr/>
        </p:nvSpPr>
        <p:spPr>
          <a:xfrm>
            <a:off x="4440000" y="2780832"/>
            <a:ext cx="1584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 data to fit into a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mon baseline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B5CA2C5A-B63D-4A4F-8DE0-BDB0E99FFB2B}"/>
              </a:ext>
            </a:extLst>
          </p:cNvPr>
          <p:cNvSpPr/>
          <p:nvPr/>
        </p:nvSpPr>
        <p:spPr>
          <a:xfrm>
            <a:off x="696000" y="1268832"/>
            <a:ext cx="10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uring the business integration, the two organization, even their individual sites will continue using their information repositories for a certain time until the business integration process has been finaliz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5" name="Flussdiagramm: Dokument 134">
            <a:extLst>
              <a:ext uri="{FF2B5EF4-FFF2-40B4-BE49-F238E27FC236}">
                <a16:creationId xmlns:a16="http://schemas.microsoft.com/office/drawing/2014/main" id="{87526E51-4532-4CC5-9737-4C8674D54649}"/>
              </a:ext>
            </a:extLst>
          </p:cNvPr>
          <p:cNvSpPr/>
          <p:nvPr/>
        </p:nvSpPr>
        <p:spPr>
          <a:xfrm>
            <a:off x="1488000" y="566083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Joint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utlooks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58E1944-74F7-42F9-9E95-180CE639B324}"/>
              </a:ext>
            </a:extLst>
          </p:cNvPr>
          <p:cNvCxnSpPr>
            <a:cxnSpLocks/>
            <a:endCxn id="135" idx="0"/>
          </p:cNvCxnSpPr>
          <p:nvPr/>
        </p:nvCxnSpPr>
        <p:spPr>
          <a:xfrm>
            <a:off x="2280088" y="5084832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0050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trategic and Operational Use Cases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</a:t>
            </a:r>
            <a:endParaRPr lang="de-CH" dirty="0">
              <a:solidFill>
                <a:srgbClr val="3264C8"/>
              </a:solidFill>
            </a:endParaRPr>
          </a:p>
        </p:txBody>
      </p:sp>
      <p:sp>
        <p:nvSpPr>
          <p:cNvPr id="13" name="Rechteck 48">
            <a:extLst>
              <a:ext uri="{FF2B5EF4-FFF2-40B4-BE49-F238E27FC236}">
                <a16:creationId xmlns:a16="http://schemas.microsoft.com/office/drawing/2014/main" id="{274F6374-B3E9-4466-9F7B-361C9163D8CE}"/>
              </a:ext>
            </a:extLst>
          </p:cNvPr>
          <p:cNvSpPr/>
          <p:nvPr/>
        </p:nvSpPr>
        <p:spPr>
          <a:xfrm>
            <a:off x="480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Use Cases</a:t>
            </a:r>
          </a:p>
        </p:txBody>
      </p:sp>
      <p:sp>
        <p:nvSpPr>
          <p:cNvPr id="14" name="Rechteck 48">
            <a:extLst>
              <a:ext uri="{FF2B5EF4-FFF2-40B4-BE49-F238E27FC236}">
                <a16:creationId xmlns:a16="http://schemas.microsoft.com/office/drawing/2014/main" id="{A66868E2-149C-4AD0-ABB6-085A8C282DD4}"/>
              </a:ext>
            </a:extLst>
          </p:cNvPr>
          <p:cNvSpPr/>
          <p:nvPr/>
        </p:nvSpPr>
        <p:spPr>
          <a:xfrm>
            <a:off x="6168000" y="981000"/>
            <a:ext cx="54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al (Everyday Life) Use Cas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866331-F030-432E-966A-EC75BF5DC707}"/>
              </a:ext>
            </a:extLst>
          </p:cNvPr>
          <p:cNvSpPr/>
          <p:nvPr/>
        </p:nvSpPr>
        <p:spPr>
          <a:xfrm>
            <a:off x="480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usiness and Market Analytic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big data collected from (empirical) market assessments to derive market trends, value-adding conclusions and outlook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owerful analysis of financial and market data for your investment decision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ergers and Acquisi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ing joint information analysis from both parties which (still) maintain two different databases and ways of working, ready for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wift generation of new data structures and database based on multiple legacy databases helpful for the business integration proces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Dat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ract the most essential information from raw big data collection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 Integrity Verificatio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financial, logistics, operational and CRM data for integrity and validity.  Generate lists of suspected shortcomings and correct them. 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ngineering and Technical Application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simulation results and identify information patterns of interes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alyze commonalities of multiple bills of material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utomatic documentation compilation and staging of software project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xample: Complete B4P online documentation created with B4P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DDA4C17-8297-4D4B-B5DE-FD46365A65FA}"/>
              </a:ext>
            </a:extLst>
          </p:cNvPr>
          <p:cNvSpPr/>
          <p:nvPr/>
        </p:nvSpPr>
        <p:spPr>
          <a:xfrm>
            <a:off x="6168000" y="1701000"/>
            <a:ext cx="540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fficient Report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llect and condense large base data in order to extract essential information required for periodic reporting and present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alidation: Compare the data with rules, best practice patterns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dentify all potential deviations and help to explain abnormalities effectively towards senior managemen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lement or enrich the data with supporting information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vide the data in a form so using Excel is the final step to do the creativity work, e.g. making convincing charts.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epeating Procedure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ve significant working time by automating repeating work patterns where Excel is used to collect, compile and analyze data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enefit: Saving time and making significantly less mistakes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and Track Key Performance Indicators (KPI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ather data from different sources, validate and provide updated KPI'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light root causes of possible abnormalities (e.g. discontinuities)</a:t>
            </a:r>
          </a:p>
          <a:p>
            <a:pPr>
              <a:spcBef>
                <a:spcPts val="9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everage Information Awarenes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 information environment where you are alerted in an early phase in case of any abnormalities or changes of particular interest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6459C2E-5401-4E44-B610-842D1FDE033C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liable data analytics generates the correct conclusions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giving your business the critical competitive advantage</a:t>
            </a:r>
          </a:p>
        </p:txBody>
      </p:sp>
    </p:spTree>
    <p:extLst>
      <p:ext uri="{BB962C8B-B14F-4D97-AF65-F5344CB8AC3E}">
        <p14:creationId xmlns:p14="http://schemas.microsoft.com/office/powerpoint/2010/main" val="4278529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 MS MD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mrich5 (at) gmail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zur Bonsen MS MBA</a:t>
            </a: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bluewin .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30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B4P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B4P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622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B4PDOCU.STA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B4PDOCU.STOP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function__sqrt(int bias, Token_List&amp; p, Token_Entry&amp; ret_val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Docu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Docu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B4P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B4P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volving ToC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ToC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B4P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style.css, PDF, etc.) are moved to the staging area, ready for one-mouseclick publication on the Internet: 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B4P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3864000" y="18262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ackground and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3216000" y="1875015"/>
            <a:ext cx="360000" cy="360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3864000" y="24742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Data Integration and Analytics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3216000" y="2523015"/>
            <a:ext cx="360000" cy="360001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3864000" y="43650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3216000" y="3171015"/>
            <a:ext cx="360000" cy="360003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3864000" y="31359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3216000" y="3819015"/>
            <a:ext cx="360000" cy="360004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3216000" y="4467011"/>
            <a:ext cx="360000" cy="360004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3864000" y="3797600"/>
            <a:ext cx="662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14851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Outline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Data Integration and Analytic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840000" y="1485000"/>
            <a:ext cx="2160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 Unreliable: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840000" y="2997000"/>
            <a:ext cx="2160000" cy="165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lex: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uter Programming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Python, R,  SAS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840000" y="4941000"/>
            <a:ext cx="2160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: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nsultant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3144000" y="6093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Solution is expensive with vendor lock-in and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3144000" y="4365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difficult to create, comprehend, share, manage, maintain, or adap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3144000" y="2421000"/>
            <a:ext cx="820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de is opaque, un-auditable, and poorly performing with high risk for err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3144000" y="1557000"/>
            <a:ext cx="7920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dequate for simple, small tasks only.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ding is cumbersome and cryptic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erformance is poor if working with large data set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3144000" y="3141000"/>
            <a:ext cx="7848000" cy="115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quires programming expertise and complex development environmen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is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arge, complex code with many functional details coded by hand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3144000" y="5013000"/>
            <a:ext cx="7344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sultants are happy to solve your problems for cash.  Solutions can b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1080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ackground and Problem Statement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Current analytics automation tools are 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unreliable, complex, and expensiv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43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Rectangle 107">
            <a:extLst>
              <a:ext uri="{FF2B5EF4-FFF2-40B4-BE49-F238E27FC236}">
                <a16:creationId xmlns:a16="http://schemas.microsoft.com/office/drawing/2014/main" id="{2D7572D2-4B2D-884D-BC33-43C1EA1AE337}"/>
              </a:ext>
            </a:extLst>
          </p:cNvPr>
          <p:cNvSpPr/>
          <p:nvPr/>
        </p:nvSpPr>
        <p:spPr>
          <a:xfrm>
            <a:off x="4224001" y="1100752"/>
            <a:ext cx="4479112" cy="1086236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90BB35B-FDEF-0B4B-A769-519C46369F64}"/>
              </a:ext>
            </a:extLst>
          </p:cNvPr>
          <p:cNvSpPr/>
          <p:nvPr/>
        </p:nvSpPr>
        <p:spPr>
          <a:xfrm>
            <a:off x="4440000" y="5589000"/>
            <a:ext cx="4697737" cy="1123073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360000" y="2435465"/>
            <a:ext cx="11232000" cy="2703555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lution 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Big Data Integration and Analytics Engine 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843130" y="5857780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972462" y="3161673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4276462" y="3154054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732462" y="314336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10036462" y="3154055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927984" y="3287368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796129" dist="254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491279" y="328738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820462" y="328738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972462" y="3071368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3124462" y="3154054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4079984" y="328738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580462" y="314336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5231984" y="328738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364462" y="3287368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428462" y="3150594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884462" y="314336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2850A0"/>
            </a:solidFill>
          </a:ln>
          <a:effectLst>
            <a:outerShdw blurRad="50800" dist="38100" dir="5640000" sx="108337" sy="108337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rgbClr val="3264C8"/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703112" y="3287384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972462" y="3719368"/>
            <a:ext cx="955522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Load data from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base 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y files to impor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4276462" y="371936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3124462" y="371936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428462" y="371936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602096" y="371936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732462" y="371936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884462" y="3719368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10036461" y="3719368"/>
            <a:ext cx="1099539" cy="94810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rigger other tools</a:t>
            </a:r>
            <a:br>
              <a:rPr lang="en-US" sz="800" dirty="0">
                <a:solidFill>
                  <a:schemeClr val="bg1">
                    <a:lumMod val="8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85000"/>
                  </a:schemeClr>
                </a:solidFill>
              </a:rPr>
              <a:t>that data is 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0" y="5708586"/>
            <a:ext cx="705510" cy="816414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 dirty="0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7068000" y="1336875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4870294" y="1407595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591267" y="5005193"/>
            <a:ext cx="632387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433304" y="2974655"/>
            <a:ext cx="137512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B4P</a:t>
            </a:r>
            <a:endParaRPr lang="en-US" sz="4400" dirty="0">
              <a:solidFill>
                <a:schemeClr val="bg1"/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958590" y="2638382"/>
            <a:ext cx="393171" cy="432015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504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656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808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960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8112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9264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416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424000" y="2853015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536466" y="1988996"/>
            <a:ext cx="647992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868551" y="4725000"/>
            <a:ext cx="4139115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: </a:t>
            </a:r>
            <a:r>
              <a:rPr lang="en-US" sz="1200" dirty="0">
                <a:solidFill>
                  <a:schemeClr val="tx1"/>
                </a:solidFill>
              </a:rPr>
              <a:t> Over 800 powerful functions built-in, with easy extensibility for new func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 eliminates need for complex code, loops, or other administrative overhead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1056002" y="1268960"/>
            <a:ext cx="316799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3264C8"/>
                </a:solidFill>
                <a:latin typeface="+mj-lt"/>
              </a:rPr>
              <a:t>B4P Low-Code Langua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389FFD4-F702-FD4B-9D76-71BC8C3A1E4F}"/>
              </a:ext>
            </a:extLst>
          </p:cNvPr>
          <p:cNvSpPr/>
          <p:nvPr/>
        </p:nvSpPr>
        <p:spPr>
          <a:xfrm>
            <a:off x="868551" y="1806456"/>
            <a:ext cx="3747640" cy="646331"/>
          </a:xfrm>
          <a:prstGeom prst="rect">
            <a:avLst/>
          </a:prstGeom>
          <a:solidFill>
            <a:schemeClr val="bg1">
              <a:lumMod val="95000"/>
              <a:alpha val="49773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rgbClr val="3264C8"/>
                </a:solidFill>
              </a:rPr>
              <a:t>The B4P Language is a Low-Code, Domain-specific Language designed specifically for tabular data, and has over 800 functions built in.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5B2388F-6F63-444D-965A-13035E1633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120" y="2754907"/>
            <a:ext cx="2447997" cy="1485817"/>
          </a:xfrm>
          <a:prstGeom prst="rect">
            <a:avLst/>
          </a:prstGeom>
          <a:effectLst>
            <a:outerShdw blurRad="66189" dist="92771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Rechteck 10">
            <a:extLst>
              <a:ext uri="{FF2B5EF4-FFF2-40B4-BE49-F238E27FC236}">
                <a16:creationId xmlns:a16="http://schemas.microsoft.com/office/drawing/2014/main" id="{CB8D2DF6-9E49-2B4E-B2F0-16CA6E568E12}"/>
              </a:ext>
            </a:extLst>
          </p:cNvPr>
          <p:cNvSpPr/>
          <p:nvPr/>
        </p:nvSpPr>
        <p:spPr>
          <a:xfrm>
            <a:off x="6642121" y="4581000"/>
            <a:ext cx="4701780" cy="20409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Fast</a:t>
            </a:r>
            <a:r>
              <a:rPr lang="en-US" sz="1100" dirty="0">
                <a:solidFill>
                  <a:schemeClr val="tx1"/>
                </a:solidFill>
              </a:rPr>
              <a:t>:  Compiled and runs ‘on the metal’ to the peak performance of the very latest 8-core and 12-core processors from Intel and Apple (M1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Light weight</a:t>
            </a:r>
            <a:r>
              <a:rPr lang="en-US" sz="1100" dirty="0">
                <a:solidFill>
                  <a:schemeClr val="tx1"/>
                </a:solidFill>
              </a:rPr>
              <a:t>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Secure. </a:t>
            </a:r>
            <a:r>
              <a:rPr lang="en-US" sz="1100" dirty="0">
                <a:solidFill>
                  <a:schemeClr val="tx1"/>
                </a:solidFill>
              </a:rPr>
              <a:t>No connection to any ‘cloud service’. Runs 100% on standalone personal computer fully isolated within the corporate network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Reliability. </a:t>
            </a:r>
            <a:r>
              <a:rPr lang="en-US" sz="1100" dirty="0">
                <a:solidFill>
                  <a:schemeClr val="tx1"/>
                </a:solidFill>
              </a:rPr>
              <a:t>Single integrated analytics engine has no dependencies, including network access to any other resources.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1"/>
                </a:solidFill>
              </a:rPr>
              <a:t>Many data formats supported 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(Excel, HTML, XML, JSON, text files, etc., full UNICODE)</a:t>
            </a:r>
          </a:p>
        </p:txBody>
      </p:sp>
      <p:sp>
        <p:nvSpPr>
          <p:cNvPr id="17" name="Rechteck 11">
            <a:extLst>
              <a:ext uri="{FF2B5EF4-FFF2-40B4-BE49-F238E27FC236}">
                <a16:creationId xmlns:a16="http://schemas.microsoft.com/office/drawing/2014/main" id="{393F0D89-4441-244C-B969-1039AB5B09FB}"/>
              </a:ext>
            </a:extLst>
          </p:cNvPr>
          <p:cNvSpPr/>
          <p:nvPr/>
        </p:nvSpPr>
        <p:spPr>
          <a:xfrm>
            <a:off x="6999810" y="1265711"/>
            <a:ext cx="3466051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2000" b="1" dirty="0">
                <a:solidFill>
                  <a:srgbClr val="3264C8"/>
                </a:solidFill>
                <a:latin typeface="+mj-lt"/>
              </a:rPr>
              <a:t>B4P Data Analytics Engine</a:t>
            </a:r>
          </a:p>
        </p:txBody>
      </p:sp>
      <p:pic>
        <p:nvPicPr>
          <p:cNvPr id="18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0CFEDAAB-0489-9648-9A81-F144553262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000" y="2539726"/>
            <a:ext cx="1702971" cy="177854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75661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E2A93A1-A94A-1A42-8E60-4A7E7BFD16BE}"/>
              </a:ext>
            </a:extLst>
          </p:cNvPr>
          <p:cNvSpPr/>
          <p:nvPr/>
        </p:nvSpPr>
        <p:spPr>
          <a:xfrm>
            <a:off x="6384001" y="1791096"/>
            <a:ext cx="4404359" cy="646331"/>
          </a:xfrm>
          <a:prstGeom prst="rect">
            <a:avLst/>
          </a:prstGeom>
          <a:solidFill>
            <a:schemeClr val="bg1">
              <a:lumMod val="95000"/>
              <a:alpha val="49773"/>
            </a:schemeClr>
          </a:solidFill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rgbClr val="3264C8"/>
                </a:solidFill>
              </a:rPr>
              <a:t>The B4P Engine is designed for extreme performance managing Big Data – processing tens of millions of rows of data in seconds on commodity personal computers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FA3E50-F48A-2F48-BE54-DB3EFA161AB0}"/>
              </a:ext>
            </a:extLst>
          </p:cNvPr>
          <p:cNvCxnSpPr>
            <a:cxnSpLocks/>
          </p:cNvCxnSpPr>
          <p:nvPr/>
        </p:nvCxnSpPr>
        <p:spPr>
          <a:xfrm>
            <a:off x="5808000" y="1142932"/>
            <a:ext cx="0" cy="5661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1">
            <a:extLst>
              <a:ext uri="{FF2B5EF4-FFF2-40B4-BE49-F238E27FC236}">
                <a16:creationId xmlns:a16="http://schemas.microsoft.com/office/drawing/2014/main" id="{7AEFCFB3-5859-D247-99F3-F8A3B9F9E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ey Components </a:t>
            </a:r>
            <a:br>
              <a:rPr lang="en-US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B4P Language and Data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A0945-3580-124C-97B5-638A3AF38F9A}"/>
              </a:ext>
            </a:extLst>
          </p:cNvPr>
          <p:cNvSpPr/>
          <p:nvPr/>
        </p:nvSpPr>
        <p:spPr>
          <a:xfrm>
            <a:off x="912000" y="1390144"/>
            <a:ext cx="5961073" cy="4045712"/>
          </a:xfrm>
          <a:prstGeom prst="rect">
            <a:avLst/>
          </a:prstGeom>
          <a:solidFill>
            <a:schemeClr val="bg1">
              <a:lumMod val="95000"/>
              <a:alpha val="57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596533" y="6072411"/>
            <a:ext cx="6377484" cy="629715"/>
          </a:xfrm>
          <a:prstGeom prst="rect">
            <a:avLst/>
          </a:prstGeom>
          <a:solidFill>
            <a:schemeClr val="bg1">
              <a:lumMod val="95000"/>
              <a:alpha val="5238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i="1" dirty="0">
                <a:solidFill>
                  <a:srgbClr val="3264C8"/>
                </a:solidFill>
              </a:rPr>
              <a:t>B4P is highest in both Code Performance and Code Efficiency, </a:t>
            </a:r>
          </a:p>
          <a:p>
            <a:pPr algn="ctr"/>
            <a:r>
              <a:rPr lang="en-US" sz="1600" b="1" i="1" dirty="0">
                <a:solidFill>
                  <a:srgbClr val="3264C8"/>
                </a:solidFill>
              </a:rPr>
              <a:t>providing complete solutions with less than 10-20 lines of code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435857"/>
            <a:ext cx="5976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435857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Efficiency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435857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443986"/>
            <a:ext cx="7129" cy="39918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219857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390143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975741" y="3374715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600" b="1" dirty="0">
                <a:solidFill>
                  <a:schemeClr val="tx1"/>
                </a:solidFill>
              </a:rPr>
              <a:t>Code Performanc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711098" y="4376462"/>
            <a:ext cx="1343031" cy="875594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142729" y="1691857"/>
            <a:ext cx="929590" cy="98262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627640" y="1673640"/>
            <a:ext cx="936719" cy="1026217"/>
          </a:xfrm>
          <a:prstGeom prst="roundRect">
            <a:avLst/>
          </a:prstGeom>
          <a:solidFill>
            <a:srgbClr val="3264C8">
              <a:alpha val="80907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993799" y="2601813"/>
            <a:ext cx="1098158" cy="880907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s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427639" y="2016735"/>
            <a:ext cx="4161073" cy="436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 Performance and Scalabil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cesses extremely large data (tens of millions of rows) in second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 Efficiency and Simplicity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ngle statements replace need for 10-50 lines of code in other languag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w 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livers solution with minimal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ximum functionality with fewest lines of code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timized for Simplicity of Coding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ample: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able process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grams are Portable across all Platfor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4P program are fully portable, sharable, and executable across all operating systems (Windows, Linux, MacOS) and all computer architecture (Intel x32, x64; ARM M1), assuring maximum re-use across the enterprise.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2568000" y="5661000"/>
            <a:ext cx="23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develop and deploy solution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 rot="16200000">
            <a:off x="315490" y="3311857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Speed to run)</a:t>
            </a:r>
          </a:p>
        </p:txBody>
      </p:sp>
      <p:grpSp>
        <p:nvGrpSpPr>
          <p:cNvPr id="29" name="Gruppieren 10">
            <a:extLst>
              <a:ext uri="{FF2B5EF4-FFF2-40B4-BE49-F238E27FC236}">
                <a16:creationId xmlns:a16="http://schemas.microsoft.com/office/drawing/2014/main" id="{901A4561-5B3A-3142-B0EA-8BCFCCD7439B}"/>
              </a:ext>
            </a:extLst>
          </p:cNvPr>
          <p:cNvGrpSpPr/>
          <p:nvPr/>
        </p:nvGrpSpPr>
        <p:grpSpPr>
          <a:xfrm>
            <a:off x="6600000" y="2195857"/>
            <a:ext cx="406948" cy="515657"/>
            <a:chOff x="7789696" y="1644240"/>
            <a:chExt cx="431444" cy="576000"/>
          </a:xfrm>
        </p:grpSpPr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0C17A7C5-59E1-8246-9117-D209AAAEB0AB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33" name="Grafik 57">
              <a:extLst>
                <a:ext uri="{FF2B5EF4-FFF2-40B4-BE49-F238E27FC236}">
                  <a16:creationId xmlns:a16="http://schemas.microsoft.com/office/drawing/2014/main" id="{3C56EA6D-3488-9049-9983-325639B6A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4" name="Rechteck: abgerundete Ecken 25">
            <a:extLst>
              <a:ext uri="{FF2B5EF4-FFF2-40B4-BE49-F238E27FC236}">
                <a16:creationId xmlns:a16="http://schemas.microsoft.com/office/drawing/2014/main" id="{FACADB57-F160-E24A-8517-120F769550DC}"/>
              </a:ext>
            </a:extLst>
          </p:cNvPr>
          <p:cNvSpPr/>
          <p:nvPr/>
        </p:nvSpPr>
        <p:spPr>
          <a:xfrm>
            <a:off x="3158291" y="3238330"/>
            <a:ext cx="967838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35" name="Rechteck: abgerundete Ecken 25">
            <a:extLst>
              <a:ext uri="{FF2B5EF4-FFF2-40B4-BE49-F238E27FC236}">
                <a16:creationId xmlns:a16="http://schemas.microsoft.com/office/drawing/2014/main" id="{DBE1E884-1B58-9149-943F-3CB72DCC6489}"/>
              </a:ext>
            </a:extLst>
          </p:cNvPr>
          <p:cNvSpPr/>
          <p:nvPr/>
        </p:nvSpPr>
        <p:spPr>
          <a:xfrm>
            <a:off x="2402730" y="3645042"/>
            <a:ext cx="723686" cy="766869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8F3AD8-6514-374E-923C-8F625C760870}"/>
              </a:ext>
            </a:extLst>
          </p:cNvPr>
          <p:cNvSpPr/>
          <p:nvPr/>
        </p:nvSpPr>
        <p:spPr>
          <a:xfrm>
            <a:off x="7395773" y="1261382"/>
            <a:ext cx="4132732" cy="646331"/>
          </a:xfrm>
          <a:prstGeom prst="rect">
            <a:avLst/>
          </a:prstGeom>
          <a:solidFill>
            <a:schemeClr val="bg1">
              <a:lumMod val="95000"/>
              <a:alpha val="52384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i="1" dirty="0">
                <a:solidFill>
                  <a:srgbClr val="3264C8"/>
                </a:solidFill>
              </a:rPr>
              <a:t>The B4P Language is a Low-Code, Domain-specific Language for tabular data, and has over 800 functions built in.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CC6DCA11-DA0F-2C43-9EB1-CF7D0FC0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Provides Highest Efficiency and Performance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59078" y="6165000"/>
            <a:ext cx="11232000" cy="6297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rgbClr val="3264C8"/>
                </a:solidFill>
              </a:rPr>
              <a:t>The B4P Language allows one to solve complex problems with minimal, simple, clear code </a:t>
            </a:r>
          </a:p>
          <a:p>
            <a:pPr algn="ctr"/>
            <a:r>
              <a:rPr lang="en-US" sz="1600" b="1" dirty="0">
                <a:solidFill>
                  <a:srgbClr val="3264C8"/>
                </a:solidFill>
              </a:rPr>
              <a:t>Focus on the </a:t>
            </a:r>
            <a:r>
              <a:rPr lang="en-US" sz="1600" b="1" i="1" dirty="0">
                <a:solidFill>
                  <a:srgbClr val="3264C8"/>
                </a:solidFill>
              </a:rPr>
              <a:t>what</a:t>
            </a:r>
            <a:r>
              <a:rPr lang="en-US" sz="1600" b="1" dirty="0">
                <a:solidFill>
                  <a:srgbClr val="3264C8"/>
                </a:solidFill>
              </a:rPr>
              <a:t>, not the </a:t>
            </a:r>
            <a:r>
              <a:rPr lang="en-US" sz="1600" b="1" i="1" dirty="0">
                <a:solidFill>
                  <a:srgbClr val="3264C8"/>
                </a:solidFill>
              </a:rPr>
              <a:t>how</a:t>
            </a:r>
            <a:r>
              <a:rPr lang="en-US" sz="1600" b="1" dirty="0">
                <a:solidFill>
                  <a:srgbClr val="3264C8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y to read und understand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ch Function Library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hil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f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de in Function Parameters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4P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4P supports a rich library to create Excel and HTML files with rich formatting, auto filters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eedom of Naming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lexible Variable Structure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oss Platform Portability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4P programs run under Windows, LINUX and MacOS (incl. M1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4P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bed B4P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8FEBDCF-208D-B947-94C3-53AF15BA4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4P</a:t>
            </a:r>
            <a:br>
              <a:rPr lang="en-US" dirty="0">
                <a:solidFill>
                  <a:srgbClr val="3264C8"/>
                </a:solidFill>
              </a:rPr>
            </a:br>
            <a:r>
              <a:rPr lang="en-US" dirty="0">
                <a:solidFill>
                  <a:srgbClr val="3264C8"/>
                </a:solidFill>
              </a:rPr>
              <a:t>Language Features</a:t>
            </a:r>
            <a:endParaRPr lang="de-CH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061000"/>
            <a:ext cx="11232000" cy="2088000"/>
          </a:xfrm>
        </p:spPr>
        <p:txBody>
          <a:bodyPr/>
          <a:lstStyle/>
          <a:p>
            <a:pPr algn="ctr"/>
            <a:r>
              <a:rPr lang="de-CH" sz="5400" dirty="0">
                <a:solidFill>
                  <a:srgbClr val="3264C8"/>
                </a:solidFill>
              </a:rPr>
              <a:t>B4P </a:t>
            </a:r>
            <a:br>
              <a:rPr lang="de-CH" sz="5400" dirty="0">
                <a:solidFill>
                  <a:srgbClr val="3264C8"/>
                </a:solidFill>
              </a:rPr>
            </a:br>
            <a:r>
              <a:rPr lang="de-CH" sz="5400" dirty="0" err="1">
                <a:solidFill>
                  <a:srgbClr val="3264C8"/>
                </a:solidFill>
              </a:rPr>
              <a:t>Examples</a:t>
            </a:r>
            <a:endParaRPr lang="de-CH" sz="5400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79</TotalTime>
  <Words>5077</Words>
  <Application>Microsoft Macintosh PowerPoint</Application>
  <PresentationFormat>Widescreen</PresentationFormat>
  <Paragraphs>797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Overview High-Performance Big Data Integration and Analytics Solution</vt:lpstr>
      <vt:lpstr>Outline B4P Data Integration and Analytics</vt:lpstr>
      <vt:lpstr>Background and Problem Statement Current analytics automation tools are  unreliable, complex, and expensive</vt:lpstr>
      <vt:lpstr>Solution  B4P Big Data Integration and Analytics Engine </vt:lpstr>
      <vt:lpstr>Key Components  B4P Language and Data Analytics Engine</vt:lpstr>
      <vt:lpstr>B4P Language Provides Highest Efficiency and Performance</vt:lpstr>
      <vt:lpstr>B4P Language Features</vt:lpstr>
      <vt:lpstr>B4P  Examples</vt:lpstr>
      <vt:lpstr>B4P Example #1 Merging Two Soccer Clubs</vt:lpstr>
      <vt:lpstr>PowerPoint Presentation</vt:lpstr>
      <vt:lpstr>B4P Example #2 Combining Stock Data:  S&amp;P 500 and NASDAQ 100</vt:lpstr>
      <vt:lpstr>B4P Example #2 Combining Stock Data:  S&amp;P 500 and NASDAQ 100</vt:lpstr>
      <vt:lpstr>PowerPoint Presentation</vt:lpstr>
      <vt:lpstr>PowerPoint Presentation</vt:lpstr>
      <vt:lpstr>B4P  Real-World  Use Cases</vt:lpstr>
      <vt:lpstr>B4P Real-world Use Case #1 Integrate corporate data from 20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Real-world Use Case #4 Merger and Acquisition</vt:lpstr>
      <vt:lpstr>Strategic and Operational Use Cases B4P</vt:lpstr>
      <vt:lpstr>B4P  Beyond Former Performance.</vt:lpstr>
      <vt:lpstr>B4P Solution Supported Data Formats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507</cp:revision>
  <cp:lastPrinted>2012-05-04T14:30:29Z</cp:lastPrinted>
  <dcterms:created xsi:type="dcterms:W3CDTF">2016-02-06T20:40:56Z</dcterms:created>
  <dcterms:modified xsi:type="dcterms:W3CDTF">2021-06-29T16:37:13Z</dcterms:modified>
</cp:coreProperties>
</file>